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C2059457-E99A-49FC-BB92-0234BF80E644}"/>
    <pc:docChg chg="modSld">
      <pc:chgData name="Weigel Stefan (PAR-EPS)" userId="fd3b2067-2981-4ad8-bf3a-d2e1004e4fa8" providerId="ADAL" clId="{C2059457-E99A-49FC-BB92-0234BF80E644}" dt="2024-04-08T14:26:04.013" v="13" actId="692"/>
      <pc:docMkLst>
        <pc:docMk/>
      </pc:docMkLst>
      <pc:sldChg chg="modSp mod">
        <pc:chgData name="Weigel Stefan (PAR-EPS)" userId="fd3b2067-2981-4ad8-bf3a-d2e1004e4fa8" providerId="ADAL" clId="{C2059457-E99A-49FC-BB92-0234BF80E644}" dt="2024-04-08T14:26:04.013" v="13" actId="692"/>
        <pc:sldMkLst>
          <pc:docMk/>
          <pc:sldMk cId="2131180641" sldId="398"/>
        </pc:sldMkLst>
        <pc:spChg chg="mod">
          <ac:chgData name="Weigel Stefan (PAR-EPS)" userId="fd3b2067-2981-4ad8-bf3a-d2e1004e4fa8" providerId="ADAL" clId="{C2059457-E99A-49FC-BB92-0234BF80E644}" dt="2024-04-08T14:22:43.508" v="8" actId="255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C2059457-E99A-49FC-BB92-0234BF80E644}" dt="2024-04-08T14:22:38.460" v="7" actId="255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C2059457-E99A-49FC-BB92-0234BF80E644}" dt="2024-04-08T14:26:04.013" v="13" actId="692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Weigel Stefan (PAR-EPS)" userId="fd3b2067-2981-4ad8-bf3a-d2e1004e4fa8" providerId="ADAL" clId="{763BE877-9B14-4201-BDB8-5B92E3B3CC33}"/>
    <pc:docChg chg="modSld">
      <pc:chgData name="Weigel Stefan (PAR-EPS)" userId="fd3b2067-2981-4ad8-bf3a-d2e1004e4fa8" providerId="ADAL" clId="{763BE877-9B14-4201-BDB8-5B92E3B3CC33}" dt="2025-02-21T09:35:07.163" v="23" actId="6549"/>
      <pc:docMkLst>
        <pc:docMk/>
      </pc:docMkLst>
      <pc:sldChg chg="modSp mod">
        <pc:chgData name="Weigel Stefan (PAR-EPS)" userId="fd3b2067-2981-4ad8-bf3a-d2e1004e4fa8" providerId="ADAL" clId="{763BE877-9B14-4201-BDB8-5B92E3B3CC33}" dt="2025-02-21T09:35:07.163" v="23" actId="6549"/>
        <pc:sldMkLst>
          <pc:docMk/>
          <pc:sldMk cId="2131180641" sldId="398"/>
        </pc:sldMkLst>
        <pc:spChg chg="mod">
          <ac:chgData name="Weigel Stefan (PAR-EPS)" userId="fd3b2067-2981-4ad8-bf3a-d2e1004e4fa8" providerId="ADAL" clId="{763BE877-9B14-4201-BDB8-5B92E3B3CC33}" dt="2025-02-21T09:32:15.277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63BE877-9B14-4201-BDB8-5B92E3B3CC33}" dt="2025-02-21T09:35:07.163" v="23" actId="6549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03504674-11F9-46BD-9FF3-895DF655A1C2}"/>
    <pc:docChg chg="modSld">
      <pc:chgData name="Weigel Stefan (PAR-EPS)" userId="fd3b2067-2981-4ad8-bf3a-d2e1004e4fa8" providerId="ADAL" clId="{03504674-11F9-46BD-9FF3-895DF655A1C2}" dt="2025-02-22T13:06:50.317" v="5"/>
      <pc:docMkLst>
        <pc:docMk/>
      </pc:docMkLst>
      <pc:sldChg chg="modSp mod">
        <pc:chgData name="Weigel Stefan (PAR-EPS)" userId="fd3b2067-2981-4ad8-bf3a-d2e1004e4fa8" providerId="ADAL" clId="{03504674-11F9-46BD-9FF3-895DF655A1C2}" dt="2025-02-22T13:06:50.317" v="5"/>
        <pc:sldMkLst>
          <pc:docMk/>
          <pc:sldMk cId="2131180641" sldId="398"/>
        </pc:sldMkLst>
        <pc:graphicFrameChg chg="mod">
          <ac:chgData name="Weigel Stefan (PAR-EPS)" userId="fd3b2067-2981-4ad8-bf3a-d2e1004e4fa8" providerId="ADAL" clId="{03504674-11F9-46BD-9FF3-895DF655A1C2}" dt="2025-02-22T13:06:50.317" v="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Weigel Stefan (PAR-EPS)" userId="fd3b2067-2981-4ad8-bf3a-d2e1004e4fa8" providerId="ADAL" clId="{F3967220-3A59-4F9F-B063-103D76349919}"/>
    <pc:docChg chg="modSld">
      <pc:chgData name="Weigel Stefan (PAR-EPS)" userId="fd3b2067-2981-4ad8-bf3a-d2e1004e4fa8" providerId="ADAL" clId="{F3967220-3A59-4F9F-B063-103D76349919}" dt="2024-02-01T11:33:53.524" v="107" actId="27918"/>
      <pc:docMkLst>
        <pc:docMk/>
      </pc:docMkLst>
      <pc:sldChg chg="modSp mod">
        <pc:chgData name="Weigel Stefan (PAR-EPS)" userId="fd3b2067-2981-4ad8-bf3a-d2e1004e4fa8" providerId="ADAL" clId="{F3967220-3A59-4F9F-B063-103D76349919}" dt="2024-02-01T11:33:53.524" v="107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F3967220-3A59-4F9F-B063-103D76349919}" dt="2024-01-24T10:41:27.492" v="5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3967220-3A59-4F9F-B063-103D76349919}" dt="2024-01-31T15:29:21.172" v="91" actId="6549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F3967220-3A59-4F9F-B063-103D76349919}" dt="2024-01-24T10:51:30.118" v="63" actId="25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00244384711989"/>
          <c:y val="8.9015694025901065E-2"/>
          <c:w val="0.76219289846778104"/>
          <c:h val="0.7558312001123315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Installations</c:v>
                </c:pt>
                <c:pt idx="1">
                  <c:v>Energy and energy installations</c:v>
                </c:pt>
                <c:pt idx="2">
                  <c:v>Structural engineering</c:v>
                </c:pt>
                <c:pt idx="3">
                  <c:v>Not classified</c:v>
                </c:pt>
                <c:pt idx="4">
                  <c:v>ICT &amp; material</c:v>
                </c:pt>
                <c:pt idx="5">
                  <c:v>Services</c:v>
                </c:pt>
                <c:pt idx="6">
                  <c:v>Vehicles</c:v>
                </c:pt>
                <c:pt idx="7">
                  <c:v>Civil engineering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0.31349202969999901</c:v>
                </c:pt>
                <c:pt idx="1">
                  <c:v>0.31344334757000003</c:v>
                </c:pt>
                <c:pt idx="2">
                  <c:v>0.40167851613</c:v>
                </c:pt>
                <c:pt idx="3">
                  <c:v>0.41474562457999797</c:v>
                </c:pt>
                <c:pt idx="4">
                  <c:v>0.655209899809999</c:v>
                </c:pt>
                <c:pt idx="5">
                  <c:v>0.86975615885999902</c:v>
                </c:pt>
                <c:pt idx="6">
                  <c:v>0.99190862616000008</c:v>
                </c:pt>
                <c:pt idx="7">
                  <c:v>1.5981177872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Other countri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Installations</c:v>
                </c:pt>
                <c:pt idx="1">
                  <c:v>Energy and energy installations</c:v>
                </c:pt>
                <c:pt idx="2">
                  <c:v>Structural engineering</c:v>
                </c:pt>
                <c:pt idx="3">
                  <c:v>Not classified</c:v>
                </c:pt>
                <c:pt idx="4">
                  <c:v>ICT &amp; material</c:v>
                </c:pt>
                <c:pt idx="5">
                  <c:v>Services</c:v>
                </c:pt>
                <c:pt idx="6">
                  <c:v>Vehicles</c:v>
                </c:pt>
                <c:pt idx="7">
                  <c:v>Civil engineering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5.8654730660000001E-2</c:v>
                </c:pt>
                <c:pt idx="1">
                  <c:v>7.0197595789999997E-2</c:v>
                </c:pt>
                <c:pt idx="2">
                  <c:v>2.2845734000000004E-3</c:v>
                </c:pt>
                <c:pt idx="3">
                  <c:v>1.932106775E-2</c:v>
                </c:pt>
                <c:pt idx="4">
                  <c:v>8.9940276380000003E-2</c:v>
                </c:pt>
                <c:pt idx="5">
                  <c:v>7.5051500869999996E-2</c:v>
                </c:pt>
                <c:pt idx="6">
                  <c:v>0.20296823006</c:v>
                </c:pt>
                <c:pt idx="7">
                  <c:v>9.281599064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ctr" anchorCtr="1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211</cdr:x>
      <cdr:y>0.01365</cdr:y>
    </cdr:from>
    <cdr:to>
      <cdr:x>0.99061</cdr:x>
      <cdr:y>0.0659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406941" y="63181"/>
          <a:ext cx="723536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CHF </a:t>
          </a:r>
          <a:r>
            <a:rPr lang="de-CH" sz="1100" dirty="0" err="1"/>
            <a:t>billion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BB as a purchaser in 2024</a:t>
            </a:r>
            <a:r>
              <a:rPr lang="de-CH" dirty="0"/>
              <a:t>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9614950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Purchasing volume for 2024: CHF 6.17 billion in total, of which 90% was assigned to suppliers in Switzerland. 14,488 suppliers, of which 90% in Switzerland. (Only includes billers with a purchasing volume of more than CHF 2,000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96e82a89-ba48-4728-b345-cf206dbec8f1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71C2D9F-CF4C-4E5F-9E1C-33645093AF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as a purchaser in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as a purchaser in 2024._x000b_</dc:title>
  <dc:creator>Meyer Raphael (KOM-PGA-VSF)</dc:creator>
  <cp:lastModifiedBy>Stefan Weigel (PAR-EPS)</cp:lastModifiedBy>
  <cp:revision>58</cp:revision>
  <cp:lastPrinted>2023-01-30T17:27:01Z</cp:lastPrinted>
  <dcterms:created xsi:type="dcterms:W3CDTF">2020-09-30T11:00:09Z</dcterms:created>
  <dcterms:modified xsi:type="dcterms:W3CDTF">2025-02-24T12:5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